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7" r:id="rId2"/>
    <p:sldId id="258" r:id="rId3"/>
    <p:sldId id="269" r:id="rId4"/>
    <p:sldId id="270" r:id="rId5"/>
    <p:sldId id="271" r:id="rId6"/>
    <p:sldId id="279" r:id="rId7"/>
    <p:sldId id="273" r:id="rId8"/>
    <p:sldId id="292" r:id="rId9"/>
    <p:sldId id="289" r:id="rId10"/>
    <p:sldId id="288" r:id="rId11"/>
    <p:sldId id="274" r:id="rId12"/>
    <p:sldId id="287" r:id="rId13"/>
    <p:sldId id="291" r:id="rId14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68" d="100"/>
          <a:sy n="68" d="100"/>
        </p:scale>
        <p:origin x="-1216" y="-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6FA177-8F4D-4CCA-95DA-365716A9E776}" type="datetimeFigureOut">
              <a:rPr lang="ru-RU" smtClean="0"/>
              <a:t>03.1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05FCD6-5EE1-456E-BC62-ABE4669431F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65753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3A29BA-E4BF-40EB-85DA-818092B6CE5F}" type="datetimeFigureOut">
              <a:rPr lang="ru-RU" smtClean="0"/>
              <a:t>03.1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E01255-7A17-46B0-A40E-26E7E10E08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62487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E01255-7A17-46B0-A40E-26E7E10E085D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0678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0152-1E78-47F9-A847-1A01929A5089}" type="datetime1">
              <a:rPr lang="ru-RU" smtClean="0"/>
              <a:t>03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A4E5D-3F63-4327-AE42-3E5A22A3C7D3}" type="datetime1">
              <a:rPr lang="ru-RU" smtClean="0"/>
              <a:t>03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F6F0D6-7097-45B7-B54A-42EB0572BF1C}" type="datetime1">
              <a:rPr lang="ru-RU" smtClean="0"/>
              <a:t>03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19477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JC_PPT_Template_2-12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9143999" cy="614808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43998" cy="68580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 rot="20935127">
            <a:off x="82178" y="4504766"/>
            <a:ext cx="8621059" cy="926353"/>
          </a:xfrm>
        </p:spPr>
        <p:txBody>
          <a:bodyPr>
            <a:normAutofit/>
          </a:bodyPr>
          <a:lstStyle>
            <a:lvl1pPr>
              <a:defRPr sz="3600" b="1" cap="all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3571" y="349794"/>
            <a:ext cx="2450429" cy="1511707"/>
          </a:xfrm>
          <a:prstGeom prst="rect">
            <a:avLst/>
          </a:prstGeom>
        </p:spPr>
      </p:pic>
      <p:sp>
        <p:nvSpPr>
          <p:cNvPr id="1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671152" y="6575783"/>
            <a:ext cx="408544" cy="2913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fld id="{C28AD77A-5AE9-7D48-9197-0572773862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8157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4FD9EA-080E-4AEB-B450-A09FAB4D31C4}" type="datetime1">
              <a:rPr lang="ru-RU" smtClean="0"/>
              <a:t>03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395C1-5779-4DEF-995C-E9B98E743335}" type="datetime1">
              <a:rPr lang="ru-RU" smtClean="0"/>
              <a:t>03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9C222-3DC6-43AB-8A45-6F1E3B980281}" type="datetime1">
              <a:rPr lang="ru-RU" smtClean="0"/>
              <a:t>03.1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1BADC3-F31B-49F4-9D9F-ABF6851E97B4}" type="datetime1">
              <a:rPr lang="ru-RU" smtClean="0"/>
              <a:t>03.12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F1A574-91D4-469E-9C52-4EEBCF23FD10}" type="datetime1">
              <a:rPr lang="ru-RU" smtClean="0"/>
              <a:t>03.1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F0300-F243-4987-8890-FA15E3EB75E6}" type="datetime1">
              <a:rPr lang="ru-RU" smtClean="0"/>
              <a:t>03.12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3678EA-52CA-488B-94BE-8BCB8CB5C543}" type="datetime1">
              <a:rPr lang="ru-RU" smtClean="0"/>
              <a:t>03.1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FC61D-0D48-4802-9294-44C083A22ECC}" type="datetime1">
              <a:rPr lang="ru-RU" smtClean="0"/>
              <a:t>03.1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E56A99-4F87-4941-B766-A8C27DC846B7}" type="datetime1">
              <a:rPr lang="ru-RU" smtClean="0"/>
              <a:t>03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png"/><Relationship Id="rId4" Type="http://schemas.openxmlformats.org/officeDocument/2006/relationships/image" Target="../media/image22.jpeg"/><Relationship Id="rId9" Type="http://schemas.openxmlformats.org/officeDocument/2006/relationships/image" Target="../media/image2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0.png"/><Relationship Id="rId7" Type="http://schemas.openxmlformats.org/officeDocument/2006/relationships/image" Target="../media/image14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3"/>
          <p:cNvSpPr>
            <a:spLocks noGrp="1"/>
          </p:cNvSpPr>
          <p:nvPr>
            <p:ph type="ctrTitle"/>
          </p:nvPr>
        </p:nvSpPr>
        <p:spPr>
          <a:xfrm>
            <a:off x="4572000" y="2708920"/>
            <a:ext cx="4462264" cy="459482"/>
          </a:xfrm>
        </p:spPr>
        <p:txBody>
          <a:bodyPr>
            <a:noAutofit/>
          </a:bodyPr>
          <a:lstStyle/>
          <a:p>
            <a:r>
              <a:rPr lang="ru-RU" sz="2800" b="1" cap="all" dirty="0">
                <a:solidFill>
                  <a:schemeClr val="bg1"/>
                </a:solidFill>
              </a:rPr>
              <a:t>«НАДЕЖНОСТЬ РАБОТЫ СИСТЕМЫ СУХИХ ГАЗОДИНАМИЧЕСКИХ УПЛОТНЕНИЙ. МОДЕРНИЗАЦИЯ И ОСОБЕННОСТИ ЭКСПЛУАТАЦИИ»</a:t>
            </a:r>
          </a:p>
        </p:txBody>
      </p:sp>
      <p:sp>
        <p:nvSpPr>
          <p:cNvPr id="8" name="Подзаголовок 4"/>
          <p:cNvSpPr>
            <a:spLocks noGrp="1"/>
          </p:cNvSpPr>
          <p:nvPr>
            <p:ph type="subTitle" idx="1"/>
          </p:nvPr>
        </p:nvSpPr>
        <p:spPr>
          <a:xfrm>
            <a:off x="4384024" y="4509120"/>
            <a:ext cx="4759976" cy="792088"/>
          </a:xfrm>
        </p:spPr>
        <p:txBody>
          <a:bodyPr>
            <a:noAutofit/>
          </a:bodyPr>
          <a:lstStyle/>
          <a:p>
            <a:r>
              <a:rPr lang="ru-RU" sz="1600" dirty="0">
                <a:solidFill>
                  <a:srgbClr val="FFFFFF"/>
                </a:solidFill>
              </a:rPr>
              <a:t>Коренякин Александр </a:t>
            </a:r>
            <a:r>
              <a:rPr lang="ru-RU" sz="1600" dirty="0" smtClean="0">
                <a:solidFill>
                  <a:srgbClr val="FFFFFF"/>
                </a:solidFill>
              </a:rPr>
              <a:t>Андреевич</a:t>
            </a:r>
          </a:p>
          <a:p>
            <a:r>
              <a:rPr lang="ru-RU" sz="1600" dirty="0" smtClean="0">
                <a:solidFill>
                  <a:srgbClr val="FFFFFF"/>
                </a:solidFill>
              </a:rPr>
              <a:t> </a:t>
            </a:r>
            <a:r>
              <a:rPr lang="ru-RU" sz="1600" dirty="0">
                <a:solidFill>
                  <a:srgbClr val="FFFFFF"/>
                </a:solidFill>
              </a:rPr>
              <a:t>Генеральный директор</a:t>
            </a:r>
          </a:p>
          <a:p>
            <a:r>
              <a:rPr lang="ru-RU" sz="1600" dirty="0">
                <a:solidFill>
                  <a:srgbClr val="FFFFFF"/>
                </a:solidFill>
              </a:rPr>
              <a:t>ООО «Джон Крейн-Искра»</a:t>
            </a:r>
          </a:p>
        </p:txBody>
      </p:sp>
    </p:spTree>
    <p:extLst>
      <p:ext uri="{BB962C8B-B14F-4D97-AF65-F5344CB8AC3E}">
        <p14:creationId xmlns:p14="http://schemas.microsoft.com/office/powerpoint/2010/main" val="2734055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одержимое 4"/>
          <p:cNvSpPr txBox="1">
            <a:spLocks/>
          </p:cNvSpPr>
          <p:nvPr/>
        </p:nvSpPr>
        <p:spPr>
          <a:xfrm>
            <a:off x="609600" y="17526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1" name="Picture 2" descr="C:\Users\asus-pc\Documents\Работа\Презентации\Газпром семинар 2017\фотографии притрочного станка\DSCN387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210" y="4148014"/>
            <a:ext cx="1260813" cy="1891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10</a:t>
            </a:fld>
            <a:endParaRPr lang="ru-RU" dirty="0"/>
          </a:p>
        </p:txBody>
      </p:sp>
      <p:pic>
        <p:nvPicPr>
          <p:cNvPr id="2050" name="Picture 2" descr="C:\Users\asus-pc\Documents\Работа\Презентации\Газпром семинар 2017\фотографии притрочного станка\DSCN3884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4122001"/>
            <a:ext cx="1265073" cy="1897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4869160"/>
            <a:ext cx="1512168" cy="16010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467544" y="0"/>
            <a:ext cx="8229600" cy="9087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cs typeface="Arial" charset="0"/>
              </a:rPr>
              <a:t>Производство ООО «Джон </a:t>
            </a:r>
            <a:r>
              <a:rPr lang="ru-RU" sz="2800" dirty="0" err="1">
                <a:cs typeface="Arial" charset="0"/>
              </a:rPr>
              <a:t>Крейн</a:t>
            </a:r>
            <a:r>
              <a:rPr lang="ru-RU" sz="2800" dirty="0">
                <a:cs typeface="Arial" charset="0"/>
              </a:rPr>
              <a:t> – Искра» сегодня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2613848"/>
              </p:ext>
            </p:extLst>
          </p:nvPr>
        </p:nvGraphicFramePr>
        <p:xfrm>
          <a:off x="475861" y="620688"/>
          <a:ext cx="7931224" cy="262128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7931224"/>
              </a:tblGrid>
              <a:tr h="495836">
                <a:tc>
                  <a:txBody>
                    <a:bodyPr/>
                    <a:lstStyle/>
                    <a:p>
                      <a:pPr marL="0" indent="0" algn="ctr"/>
                      <a:r>
                        <a:rPr lang="ru-RU" sz="1400" dirty="0" smtClean="0"/>
                        <a:t>Работа с 2003г.</a:t>
                      </a:r>
                    </a:p>
                    <a:p>
                      <a:pPr algn="ctr"/>
                      <a:r>
                        <a:rPr lang="ru-RU" sz="1400" dirty="0" smtClean="0"/>
                        <a:t>Численность:</a:t>
                      </a:r>
                      <a:r>
                        <a:rPr lang="ru-RU" sz="1400" baseline="0" dirty="0" smtClean="0"/>
                        <a:t> 63 чел.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г. Пермь</a:t>
                      </a:r>
                    </a:p>
                  </a:txBody>
                  <a:tcPr anchor="ctr"/>
                </a:tc>
              </a:tr>
              <a:tr h="351217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2</a:t>
                      </a:r>
                      <a:r>
                        <a:rPr lang="ru-RU" sz="1400" baseline="0" dirty="0" smtClean="0"/>
                        <a:t> корпуса общей площадью 2325 м</a:t>
                      </a:r>
                      <a:r>
                        <a:rPr lang="ru-RU" sz="1400" baseline="30000" dirty="0" smtClean="0"/>
                        <a:t>2</a:t>
                      </a:r>
                      <a:endParaRPr lang="ru-RU" sz="1400" baseline="0" dirty="0" smtClean="0"/>
                    </a:p>
                    <a:p>
                      <a:pPr marL="0" indent="0" algn="ctr"/>
                      <a:r>
                        <a:rPr lang="ru-RU" sz="1400" baseline="0" dirty="0" smtClean="0"/>
                        <a:t>Производственная площадь 1195 м</a:t>
                      </a:r>
                      <a:r>
                        <a:rPr lang="ru-RU" sz="1400" baseline="30000" dirty="0" smtClean="0"/>
                        <a:t>2</a:t>
                      </a:r>
                    </a:p>
                    <a:p>
                      <a:pPr marL="0" indent="0" algn="ctr"/>
                      <a:r>
                        <a:rPr lang="ru-RU" sz="1400" baseline="0" dirty="0" smtClean="0"/>
                        <a:t>Соответствие международным стандартам качества</a:t>
                      </a:r>
                      <a:endParaRPr lang="ru-RU" sz="1400" baseline="30000" dirty="0"/>
                    </a:p>
                  </a:txBody>
                  <a:tcPr/>
                </a:tc>
              </a:tr>
              <a:tr h="1074312">
                <a:tc>
                  <a:txBody>
                    <a:bodyPr/>
                    <a:lstStyle/>
                    <a:p>
                      <a:pPr algn="ctr"/>
                      <a:r>
                        <a:rPr lang="ru-RU" sz="1400" baseline="0" dirty="0" smtClean="0"/>
                        <a:t>Производственные мощности: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Участок механообработки, сварочное производство, балансировочный участок, 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стенд спекания и установки полимерных уплотнений, участок сборки и испытания панелей управления, измерительный комплекс, стенд динамических испытаний уплотнений на рабочих условиях, большой склад запасных частей</a:t>
                      </a:r>
                      <a:endParaRPr lang="ru-RU" sz="14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" name="Picture 2" descr="C:\Users\asus-pc\Documents\Работа\Презентации\Газпром семинар 2018\094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0999" y="3393320"/>
            <a:ext cx="2108607" cy="1403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 descr="C:\Users\asus-pc\Documents\Работа\Презентации\Газпром семинар 2018\088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3771" y="3393320"/>
            <a:ext cx="1736017" cy="1155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asus-pc\Documents\Работа\Презентации\Газпром семинар 2018\039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1000" y="5093622"/>
            <a:ext cx="2093288" cy="1393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1481" y="4365104"/>
            <a:ext cx="1758976" cy="1169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175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28596" y="285728"/>
            <a:ext cx="8258175" cy="368300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>
                <a:cs typeface="Arial" charset="0"/>
              </a:rPr>
              <a:t>Сервисное обслуживание уплотнений </a:t>
            </a:r>
            <a:br>
              <a:rPr lang="ru-RU" sz="2800" dirty="0">
                <a:cs typeface="Arial" charset="0"/>
              </a:rPr>
            </a:br>
            <a:r>
              <a:rPr lang="ru-RU" sz="2800" dirty="0">
                <a:cs typeface="Arial" charset="0"/>
              </a:rPr>
              <a:t>(базовый ремонт и капитальный ремонт)</a:t>
            </a:r>
          </a:p>
        </p:txBody>
      </p:sp>
      <p:sp>
        <p:nvSpPr>
          <p:cNvPr id="13" name="Содержимое 4"/>
          <p:cNvSpPr>
            <a:spLocks noGrp="1"/>
          </p:cNvSpPr>
          <p:nvPr>
            <p:ph idx="4294967295"/>
          </p:nvPr>
        </p:nvSpPr>
        <p:spPr>
          <a:xfrm>
            <a:off x="323528" y="2636912"/>
            <a:ext cx="8429625" cy="3744416"/>
          </a:xfrm>
          <a:prstGeom prst="rect">
            <a:avLst/>
          </a:prstGeom>
        </p:spPr>
        <p:txBody>
          <a:bodyPr rtlCol="0">
            <a:normAutofit fontScale="85000" lnSpcReduction="10000"/>
          </a:bodyPr>
          <a:lstStyle/>
          <a:p>
            <a:pPr marL="457200" indent="-4572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600" dirty="0" smtClean="0">
                <a:cs typeface="Arial" pitchFamily="34" charset="0"/>
              </a:rPr>
              <a:t>           </a:t>
            </a:r>
            <a:r>
              <a:rPr lang="ru-RU" sz="18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Работы, выполняемые при техническом обслуживании (стандартная замена):</a:t>
            </a:r>
          </a:p>
          <a:p>
            <a:pPr marL="457200" indent="-457200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sz="1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Разборка и очистка СГУ;</a:t>
            </a:r>
          </a:p>
          <a:p>
            <a:pPr marL="457200" indent="-457200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sz="1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Анализ состояния деталей СГУ, подготовка и согласование отчета по инспектированию;</a:t>
            </a:r>
          </a:p>
          <a:p>
            <a:pPr marL="457200" indent="-457200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sz="1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Замена внешних и внутренних </a:t>
            </a:r>
            <a:r>
              <a:rPr lang="ru-RU" sz="1800" dirty="0" err="1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о-образных</a:t>
            </a:r>
            <a:r>
              <a:rPr lang="ru-RU" sz="1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колец, ленты допуска, пружин и болтов. Все запасные детали являются фирменными изделиями Джон Крейн</a:t>
            </a:r>
            <a:r>
              <a:rPr lang="en-US" sz="1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.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8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         Работы, выполняемые при капитальном ремонте: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1.       Разборка и очистка СГУ;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2.       Анализ состояния СГУ, подготовка и согласование отчета по инспектированию;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3.       Ремонт/замена поврежденных деталей СГУ;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4.       Балансировка роторной части СГУ;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5.       Сборка СГУ;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6.       Статические и динамические испытания СГУ.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       Капитальный ремонт уплотнений производится при выявлении существенных дефектов деталей уплотнения.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       Ремонт выполняется в сервисном центре ООО «Джон Крейн – Искра», г.Пермь. </a:t>
            </a:r>
            <a:endParaRPr lang="en-US" sz="18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18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pPr marL="457200" indent="-457200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endParaRPr lang="ru-RU" sz="2000" dirty="0" smtClean="0">
              <a:latin typeface="Arial" pitchFamily="34" charset="0"/>
              <a:cs typeface="Arial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2000" dirty="0" smtClean="0">
              <a:latin typeface="Arial" pitchFamily="34" charset="0"/>
              <a:cs typeface="Arial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20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836712"/>
            <a:ext cx="4858544" cy="1701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35959" y="6501395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4701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467544" y="26064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cs typeface="Arial" charset="0"/>
              </a:rPr>
              <a:t>Техническая поддержка производителя СГДУ</a:t>
            </a:r>
          </a:p>
        </p:txBody>
      </p:sp>
      <p:sp>
        <p:nvSpPr>
          <p:cNvPr id="9" name="Содержимое 4"/>
          <p:cNvSpPr>
            <a:spLocks noGrp="1"/>
          </p:cNvSpPr>
          <p:nvPr>
            <p:ph idx="4294967295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indent="0" algn="ctr">
              <a:lnSpc>
                <a:spcPct val="90000"/>
              </a:lnSpc>
              <a:spcBef>
                <a:spcPts val="0"/>
              </a:spcBef>
              <a:buNone/>
              <a:defRPr/>
            </a:pPr>
            <a:r>
              <a:rPr lang="ru-RU" sz="2400" b="1" u="sng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Залог надежной работы СГДУ – техническая поддержка производителя СГДУ!!!</a:t>
            </a:r>
          </a:p>
          <a:p>
            <a:pPr>
              <a:lnSpc>
                <a:spcPct val="90000"/>
              </a:lnSpc>
              <a:spcBef>
                <a:spcPts val="0"/>
              </a:spcBef>
              <a:defRPr/>
            </a:pPr>
            <a:r>
              <a:rPr lang="ru-RU" sz="28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Консультирование</a:t>
            </a:r>
            <a:r>
              <a:rPr lang="ru-RU" sz="2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по вопросам эксплуатации;</a:t>
            </a:r>
          </a:p>
          <a:p>
            <a:pPr>
              <a:lnSpc>
                <a:spcPct val="90000"/>
              </a:lnSpc>
              <a:spcBef>
                <a:spcPts val="0"/>
              </a:spcBef>
              <a:defRPr/>
            </a:pPr>
            <a:r>
              <a:rPr lang="ru-RU" sz="28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Инспектирование</a:t>
            </a:r>
            <a:r>
              <a:rPr lang="ru-RU" sz="2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(ревизия) уплотнений с целью оценки технического состояния (как на месте эксплуатации, так и в сервисном центре);</a:t>
            </a:r>
          </a:p>
          <a:p>
            <a:pPr>
              <a:lnSpc>
                <a:spcPct val="90000"/>
              </a:lnSpc>
              <a:spcBef>
                <a:spcPts val="0"/>
              </a:spcBef>
              <a:defRPr/>
            </a:pPr>
            <a:r>
              <a:rPr lang="ru-RU" sz="28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Ремонт и испытание </a:t>
            </a:r>
            <a:r>
              <a:rPr lang="ru-RU" sz="2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уплотнений;</a:t>
            </a:r>
          </a:p>
          <a:p>
            <a:pPr>
              <a:lnSpc>
                <a:spcPct val="90000"/>
              </a:lnSpc>
              <a:spcBef>
                <a:spcPts val="0"/>
              </a:spcBef>
              <a:defRPr/>
            </a:pPr>
            <a:r>
              <a:rPr lang="ru-RU" sz="2800" b="1" dirty="0" err="1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Шеф-монтаж</a:t>
            </a:r>
            <a:r>
              <a:rPr lang="ru-RU" sz="28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и пуско-наладка</a:t>
            </a:r>
            <a:r>
              <a:rPr lang="ru-RU" sz="2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на месте эксплуатации;</a:t>
            </a:r>
          </a:p>
          <a:p>
            <a:pPr>
              <a:lnSpc>
                <a:spcPct val="90000"/>
              </a:lnSpc>
              <a:spcBef>
                <a:spcPts val="0"/>
              </a:spcBef>
              <a:defRPr/>
            </a:pPr>
            <a:r>
              <a:rPr lang="ru-RU" sz="28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Обучение</a:t>
            </a:r>
            <a:r>
              <a:rPr lang="ru-RU" sz="28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эксплуатирующего персонала</a:t>
            </a:r>
            <a:r>
              <a:rPr lang="ru-RU" sz="15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.</a:t>
            </a:r>
          </a:p>
          <a:p>
            <a:pPr>
              <a:spcBef>
                <a:spcPct val="50000"/>
              </a:spcBef>
              <a:buNone/>
              <a:defRPr/>
            </a:pPr>
            <a:endParaRPr lang="ru-RU" sz="2000" dirty="0" smtClean="0">
              <a:latin typeface="Arial" pitchFamily="34" charset="0"/>
              <a:cs typeface="Arial" pitchFamily="34" charset="0"/>
            </a:endParaRPr>
          </a:p>
          <a:p>
            <a:pPr marL="457200" indent="-457200">
              <a:spcBef>
                <a:spcPct val="50000"/>
              </a:spcBef>
              <a:buFontTx/>
              <a:buAutoNum type="arabicPeriod"/>
              <a:defRPr/>
            </a:pPr>
            <a:endParaRPr lang="ru-RU" sz="2000" dirty="0" smtClean="0">
              <a:latin typeface="Arial" pitchFamily="34" charset="0"/>
              <a:cs typeface="Arial" pitchFamily="34" charset="0"/>
            </a:endParaRPr>
          </a:p>
          <a:p>
            <a:endParaRPr lang="ru-RU" sz="2000" dirty="0" smtClean="0">
              <a:latin typeface="Arial" pitchFamily="34" charset="0"/>
              <a:cs typeface="Arial" pitchFamily="34" charset="0"/>
            </a:endParaRPr>
          </a:p>
          <a:p>
            <a:endParaRPr lang="ru-RU" sz="2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2735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 rot="20923987">
            <a:off x="317320" y="4450031"/>
            <a:ext cx="884321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bg1"/>
                </a:solidFill>
                <a:latin typeface="Arial"/>
                <a:cs typeface="Arial"/>
              </a:rPr>
              <a:t>Благодарю за внимание.</a:t>
            </a:r>
          </a:p>
          <a:p>
            <a:pPr algn="ctr"/>
            <a:r>
              <a:rPr lang="ru-RU" sz="3200" b="1" dirty="0" smtClean="0">
                <a:solidFill>
                  <a:schemeClr val="bg1"/>
                </a:solidFill>
                <a:latin typeface="Arial"/>
                <a:cs typeface="Arial"/>
              </a:rPr>
              <a:t>Вопросы?</a:t>
            </a:r>
            <a:endParaRPr lang="en-US" sz="3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28AD77A-5AE9-7D48-9197-057277386236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152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539552" y="-99392"/>
            <a:ext cx="8229600" cy="1143000"/>
          </a:xfrm>
        </p:spPr>
        <p:txBody>
          <a:bodyPr>
            <a:normAutofit/>
          </a:bodyPr>
          <a:lstStyle/>
          <a:p>
            <a:pPr eaLnBrk="0" hangingPunct="0"/>
            <a:r>
              <a:rPr lang="en-GB" sz="3200" dirty="0">
                <a:cs typeface="Arial" charset="0"/>
              </a:rPr>
              <a:t>ООО “</a:t>
            </a:r>
            <a:r>
              <a:rPr lang="en-GB" sz="3200" dirty="0" err="1">
                <a:cs typeface="Arial" charset="0"/>
              </a:rPr>
              <a:t>Джон</a:t>
            </a:r>
            <a:r>
              <a:rPr lang="en-GB" sz="3200" dirty="0">
                <a:cs typeface="Arial" charset="0"/>
              </a:rPr>
              <a:t> Крейн - </a:t>
            </a:r>
            <a:r>
              <a:rPr lang="en-GB" sz="3200" dirty="0" err="1">
                <a:cs typeface="Arial" charset="0"/>
              </a:rPr>
              <a:t>Искра</a:t>
            </a:r>
            <a:r>
              <a:rPr lang="en-GB" sz="3200" dirty="0">
                <a:cs typeface="Arial" charset="0"/>
              </a:rPr>
              <a:t>”, </a:t>
            </a:r>
            <a:r>
              <a:rPr lang="en-GB" sz="3200" dirty="0" err="1">
                <a:cs typeface="Arial" charset="0"/>
              </a:rPr>
              <a:t>г.Пермь</a:t>
            </a:r>
            <a:endParaRPr lang="ru-RU" sz="3200" dirty="0">
              <a:cs typeface="Arial" charset="0"/>
            </a:endParaRPr>
          </a:p>
        </p:txBody>
      </p:sp>
      <p:sp>
        <p:nvSpPr>
          <p:cNvPr id="8" name="Объект 3"/>
          <p:cNvSpPr>
            <a:spLocks noGrp="1"/>
          </p:cNvSpPr>
          <p:nvPr>
            <p:ph idx="1"/>
          </p:nvPr>
        </p:nvSpPr>
        <p:spPr>
          <a:xfrm>
            <a:off x="235093" y="908721"/>
            <a:ext cx="8657387" cy="3240359"/>
          </a:xfrm>
        </p:spPr>
        <p:txBody>
          <a:bodyPr>
            <a:normAutofit/>
          </a:bodyPr>
          <a:lstStyle/>
          <a:p>
            <a:pPr marL="0" indent="0" defTabSz="457200" eaLnBrk="0" hangingPunct="0">
              <a:spcBef>
                <a:spcPct val="0"/>
              </a:spcBef>
              <a:buNone/>
            </a:pPr>
            <a:r>
              <a:rPr lang="ru-RU" sz="17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Фирма Джон Крейн</a:t>
            </a:r>
            <a:r>
              <a:rPr lang="en-US" sz="17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</a:t>
            </a:r>
            <a:r>
              <a:rPr lang="ru-RU" sz="17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является автором технологий сухих газодинамических уплотнений(СГУ).</a:t>
            </a:r>
          </a:p>
          <a:p>
            <a:pPr defTabSz="457200" eaLnBrk="0" hangingPunct="0">
              <a:spcBef>
                <a:spcPct val="0"/>
              </a:spcBef>
            </a:pPr>
            <a:endParaRPr lang="ru-RU" sz="17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pPr marL="342900" lvl="1" indent="-342900" defTabSz="457200" eaLnBrk="0" hangingPunct="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ru-RU" sz="17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В настоящее время в мире эксплуатируется около 30 000 уплотнений</a:t>
            </a:r>
            <a:r>
              <a:rPr lang="en-US" sz="17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</a:t>
            </a:r>
            <a:r>
              <a:rPr lang="ru-RU" sz="17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Джон </a:t>
            </a:r>
            <a:r>
              <a:rPr lang="ru-RU" sz="1700" dirty="0" err="1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Крейн</a:t>
            </a:r>
            <a:r>
              <a:rPr lang="ru-RU" sz="17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.</a:t>
            </a:r>
          </a:p>
          <a:p>
            <a:pPr marL="342900" lvl="1" indent="-342900" defTabSz="457200" eaLnBrk="0" hangingPunct="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ru-RU" sz="17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В России эксплуатируется около 2 500 СГУ Джон </a:t>
            </a:r>
            <a:r>
              <a:rPr lang="ru-RU" sz="1700" dirty="0" err="1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Крейн</a:t>
            </a:r>
            <a:r>
              <a:rPr lang="ru-RU" sz="17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.</a:t>
            </a:r>
          </a:p>
          <a:p>
            <a:pPr marL="342900" lvl="1" indent="-342900" defTabSz="457200" eaLnBrk="0" hangingPunct="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ru-RU" sz="17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На объекта Газпром более 1000 СГУ Джон </a:t>
            </a:r>
            <a:r>
              <a:rPr lang="ru-RU" sz="1700" dirty="0" err="1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Крейн</a:t>
            </a:r>
            <a:endParaRPr lang="ru-RU" sz="17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pPr marL="342900" lvl="1" indent="-342900" defTabSz="457200" eaLnBrk="0" hangingPunct="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ru-RU" sz="17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pPr marL="0" lvl="1" indent="0" defTabSz="457200" eaLnBrk="0" hangingPunct="0">
              <a:spcBef>
                <a:spcPct val="0"/>
              </a:spcBef>
              <a:buNone/>
            </a:pPr>
            <a:endParaRPr lang="ru-RU" sz="1700" dirty="0" smtClean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pPr marL="0" lvl="1" indent="0" defTabSz="457200" eaLnBrk="0" hangingPunct="0">
              <a:spcBef>
                <a:spcPct val="0"/>
              </a:spcBef>
              <a:buNone/>
            </a:pPr>
            <a:r>
              <a:rPr lang="ru-RU" sz="1700" dirty="0" smtClean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* </a:t>
            </a:r>
            <a:r>
              <a:rPr lang="ru-RU" sz="17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каждое 2-е уплотнение в мире - уплотнение Джон Крейн </a:t>
            </a:r>
          </a:p>
          <a:p>
            <a:endParaRPr lang="ru-RU" dirty="0"/>
          </a:p>
        </p:txBody>
      </p:sp>
      <p:pic>
        <p:nvPicPr>
          <p:cNvPr id="9" name="Picture 9" descr="28-2"/>
          <p:cNvPicPr/>
          <p:nvPr/>
        </p:nvPicPr>
        <p:blipFill>
          <a:blip r:embed="rId4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67744" y="3717032"/>
            <a:ext cx="3948926" cy="2813045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  <a:extLst/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36161" y="6530077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5470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Объект 2"/>
          <p:cNvSpPr>
            <a:spLocks noGrp="1"/>
          </p:cNvSpPr>
          <p:nvPr>
            <p:ph idx="1"/>
          </p:nvPr>
        </p:nvSpPr>
        <p:spPr>
          <a:xfrm>
            <a:off x="467544" y="1124744"/>
            <a:ext cx="8229600" cy="1440160"/>
          </a:xfrm>
        </p:spPr>
        <p:txBody>
          <a:bodyPr>
            <a:normAutofit fontScale="40000" lnSpcReduction="20000"/>
          </a:bodyPr>
          <a:lstStyle/>
          <a:p>
            <a:pPr marL="0" indent="0" algn="just">
              <a:buNone/>
            </a:pPr>
            <a:r>
              <a:rPr lang="ru-RU" sz="52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На объекты ПАО «Газпром» на нагнетателях российского производства в составе ГПА было поставлено более 800 сухих газодинамический уплотнения производства ООО «Джон Крейн-Искра», в том числе:</a:t>
            </a:r>
          </a:p>
          <a:p>
            <a:endParaRPr lang="ru-RU" dirty="0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7210687"/>
              </p:ext>
            </p:extLst>
          </p:nvPr>
        </p:nvGraphicFramePr>
        <p:xfrm>
          <a:off x="971600" y="2564904"/>
          <a:ext cx="7200800" cy="205740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5544616"/>
                <a:gridCol w="1656184"/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2100" b="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Газпром трансгаз Ухта </a:t>
                      </a:r>
                      <a:endParaRPr lang="ru-RU" sz="2100" b="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100" b="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292 СГУ</a:t>
                      </a:r>
                      <a:endParaRPr lang="ru-RU" sz="2100" b="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1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Газпром трансгаз Саратов, Волгоград </a:t>
                      </a:r>
                      <a:endParaRPr lang="ru-RU" sz="21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1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80 СГУ</a:t>
                      </a:r>
                      <a:endParaRPr lang="ru-RU" sz="21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1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Газпром трансгаз Санкт-Петербург</a:t>
                      </a:r>
                      <a:endParaRPr lang="ru-RU" sz="21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1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65 СГУ</a:t>
                      </a:r>
                      <a:endParaRPr lang="ru-RU" sz="21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1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Газпром трансгаз Сургут</a:t>
                      </a:r>
                      <a:endParaRPr lang="ru-RU" sz="21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1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53 СГУ</a:t>
                      </a:r>
                      <a:endParaRPr lang="ru-RU" sz="21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1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Газпром трансгаз Краснодар </a:t>
                      </a:r>
                      <a:endParaRPr lang="ru-RU" sz="21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1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49 СГУ</a:t>
                      </a:r>
                      <a:endParaRPr lang="ru-RU" sz="21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512169" y="4922134"/>
            <a:ext cx="7977164" cy="609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80000"/>
              </a:lnSpc>
              <a:spcBef>
                <a:spcPct val="20000"/>
              </a:spcBef>
            </a:pPr>
            <a:r>
              <a:rPr lang="ru-RU" sz="21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Так же было произведено и смонтировано 287 панелей управления системой сухих газодинамических уплотнений.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b="1" smtClean="0"/>
              <a:t>3</a:t>
            </a:fld>
            <a:endParaRPr lang="ru-RU" b="1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539552" y="-99392"/>
            <a:ext cx="8229600" cy="1143000"/>
          </a:xfrm>
        </p:spPr>
        <p:txBody>
          <a:bodyPr>
            <a:normAutofit/>
          </a:bodyPr>
          <a:lstStyle/>
          <a:p>
            <a:pPr eaLnBrk="0" hangingPunct="0"/>
            <a:r>
              <a:rPr lang="en-GB" sz="3200" dirty="0">
                <a:cs typeface="Arial" charset="0"/>
              </a:rPr>
              <a:t>ООО “</a:t>
            </a:r>
            <a:r>
              <a:rPr lang="en-GB" sz="3200" dirty="0" err="1">
                <a:cs typeface="Arial" charset="0"/>
              </a:rPr>
              <a:t>Джон</a:t>
            </a:r>
            <a:r>
              <a:rPr lang="en-GB" sz="3200" dirty="0">
                <a:cs typeface="Arial" charset="0"/>
              </a:rPr>
              <a:t> Крейн - </a:t>
            </a:r>
            <a:r>
              <a:rPr lang="en-GB" sz="3200" dirty="0" err="1">
                <a:cs typeface="Arial" charset="0"/>
              </a:rPr>
              <a:t>Искра</a:t>
            </a:r>
            <a:r>
              <a:rPr lang="en-GB" sz="3200" dirty="0">
                <a:cs typeface="Arial" charset="0"/>
              </a:rPr>
              <a:t>”, </a:t>
            </a:r>
            <a:r>
              <a:rPr lang="en-GB" sz="3200" dirty="0" err="1">
                <a:cs typeface="Arial" charset="0"/>
              </a:rPr>
              <a:t>г.Пермь</a:t>
            </a:r>
            <a:endParaRPr lang="ru-RU" sz="3200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674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08720"/>
          </a:xfrm>
        </p:spPr>
        <p:txBody>
          <a:bodyPr>
            <a:normAutofit/>
          </a:bodyPr>
          <a:lstStyle/>
          <a:p>
            <a:r>
              <a:rPr lang="ru-RU" sz="3200" dirty="0">
                <a:cs typeface="Arial" charset="0"/>
              </a:rPr>
              <a:t>Соответствие современным требованиям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36161" y="6492875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4</a:t>
            </a:fld>
            <a:endParaRPr lang="ru-RU"/>
          </a:p>
        </p:txBody>
      </p:sp>
      <p:pic>
        <p:nvPicPr>
          <p:cNvPr id="6" name="Picture 2"/>
          <p:cNvPicPr>
            <a:picLocks noGrp="1" noChangeAspect="1" noChangeArrowheads="1"/>
          </p:cNvPicPr>
          <p:nvPr>
            <p:ph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2229134"/>
            <a:ext cx="4752528" cy="38020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 descr="\\Server\общие документы\Бованенково-Ухта\Картинки\Новая папка (2)\Рисунок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2564904"/>
            <a:ext cx="3693287" cy="3130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8046181"/>
              </p:ext>
            </p:extLst>
          </p:nvPr>
        </p:nvGraphicFramePr>
        <p:xfrm>
          <a:off x="971600" y="692696"/>
          <a:ext cx="7344816" cy="138200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672408"/>
                <a:gridCol w="3672408"/>
              </a:tblGrid>
              <a:tr h="432048">
                <a:tc>
                  <a:txBody>
                    <a:bodyPr/>
                    <a:lstStyle/>
                    <a:p>
                      <a:pPr algn="ctr"/>
                      <a:r>
                        <a:rPr lang="ru-RU" sz="1600" b="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Поставленные до 2012г. системы</a:t>
                      </a:r>
                      <a:endParaRPr lang="ru-RU" sz="1600" b="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Современные системы</a:t>
                      </a:r>
                      <a:endParaRPr lang="ru-RU" sz="1600" b="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Регулирование по перепаду «газ-газ»</a:t>
                      </a:r>
                      <a:endParaRPr lang="ru-RU" sz="1600" b="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Комбинированное регулирование</a:t>
                      </a:r>
                      <a:endParaRPr lang="ru-RU" sz="1600" b="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Одноступенчатая подготовка газа</a:t>
                      </a:r>
                      <a:endParaRPr lang="ru-RU" sz="1600" b="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Многоступенчатая подготовка газа</a:t>
                      </a:r>
                      <a:endParaRPr lang="ru-RU" sz="1600" b="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8011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5</a:t>
            </a:fld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251520" y="692696"/>
            <a:ext cx="8424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1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Основные предлагаемые решения:</a:t>
            </a:r>
          </a:p>
          <a:p>
            <a:pPr marL="342900" indent="-342900" algn="just">
              <a:buAutoNum type="arabicPeriod"/>
            </a:pPr>
            <a:r>
              <a:rPr lang="ru-RU" sz="21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Изменение схемы регулирования.</a:t>
            </a:r>
          </a:p>
          <a:p>
            <a:pPr marL="342900" indent="-342900" algn="just">
              <a:buAutoNum type="arabicPeriod"/>
            </a:pPr>
            <a:endParaRPr lang="ru-RU" sz="21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pPr marL="342900" indent="-342900" algn="just">
              <a:buAutoNum type="arabicPeriod"/>
            </a:pPr>
            <a:endParaRPr lang="ru-RU" sz="21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pPr marL="342900" indent="-342900" algn="just">
              <a:buAutoNum type="arabicPeriod"/>
            </a:pPr>
            <a:endParaRPr lang="ru-RU" sz="21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pPr marL="342900" indent="-342900" algn="just">
              <a:buAutoNum type="arabicPeriod"/>
            </a:pPr>
            <a:endParaRPr lang="ru-RU" sz="21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pPr marL="342900" indent="-342900" algn="just">
              <a:buAutoNum type="arabicPeriod"/>
            </a:pPr>
            <a:endParaRPr lang="ru-RU" sz="21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pPr marL="342900" indent="-342900" algn="just">
              <a:buAutoNum type="arabicPeriod"/>
            </a:pPr>
            <a:endParaRPr lang="ru-RU" sz="21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pPr marL="342900" indent="-342900" algn="just">
              <a:buAutoNum type="arabicPeriod"/>
            </a:pPr>
            <a:endParaRPr lang="ru-RU" sz="21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pPr marL="342900" indent="-342900" algn="just">
              <a:buFontTx/>
              <a:buAutoNum type="arabicPeriod"/>
            </a:pPr>
            <a:r>
              <a:rPr lang="ru-RU" sz="2100" dirty="0" smtClean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Применение  </a:t>
            </a:r>
            <a:r>
              <a:rPr lang="ru-RU" sz="21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современной подготовки газа</a:t>
            </a:r>
          </a:p>
          <a:p>
            <a:pPr algn="just"/>
            <a:endParaRPr lang="ru-RU" sz="21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pPr marL="342900" indent="-342900" algn="just">
              <a:buAutoNum type="arabicPeriod"/>
            </a:pPr>
            <a:endParaRPr lang="ru-RU" sz="21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7424" y="1676716"/>
            <a:ext cx="2684847" cy="2098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/>
        </p:nvSpPr>
        <p:spPr>
          <a:xfrm>
            <a:off x="467544" y="0"/>
            <a:ext cx="8229600" cy="9087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>
                <a:cs typeface="Arial" charset="0"/>
              </a:rPr>
              <a:t>Модернизация Панели управления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004952" y="1309007"/>
            <a:ext cx="302433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«Активное»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227145" y="1350441"/>
            <a:ext cx="249278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Комбинированное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07818" y="1350441"/>
            <a:ext cx="302433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По перепаду «газ-газ»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35" y="1932926"/>
            <a:ext cx="3018507" cy="15861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8932" y="1974721"/>
            <a:ext cx="2330995" cy="15025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" descr="Y:\КБ\Проекты\Долгое\БПГ\3D 1.jpg"/>
          <p:cNvPicPr>
            <a:picLocks noChangeAspect="1" noChangeArrowheads="1"/>
          </p:cNvPicPr>
          <p:nvPr/>
        </p:nvPicPr>
        <p:blipFill>
          <a:blip r:embed="rId6"/>
          <a:srcRect l="21183" r="21279"/>
          <a:stretch>
            <a:fillRect/>
          </a:stretch>
        </p:blipFill>
        <p:spPr bwMode="auto">
          <a:xfrm>
            <a:off x="4067944" y="4252715"/>
            <a:ext cx="2127568" cy="207995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Picture 4" descr="Z:\Презентация Панелей\Ставрополь_обрезанная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28895" y="4185997"/>
            <a:ext cx="1388373" cy="221339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Picture 2" descr="Y:\Кавказтрансгаз\КС СТАВРОПОЛЬСКАЯ\ГКС Ставропольская\P1010923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748070" y="4303574"/>
            <a:ext cx="2209109" cy="16568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44553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6</a:t>
            </a:fld>
            <a:endParaRPr lang="ru-RU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0595480"/>
              </p:ext>
            </p:extLst>
          </p:nvPr>
        </p:nvGraphicFramePr>
        <p:xfrm>
          <a:off x="395536" y="692696"/>
          <a:ext cx="8064896" cy="257580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032448"/>
                <a:gridCol w="4032448"/>
              </a:tblGrid>
              <a:tr h="432048"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СГУ «АТ»</a:t>
                      </a:r>
                      <a:endParaRPr lang="ru-RU" sz="16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СГУ «АУРА»</a:t>
                      </a:r>
                      <a:endParaRPr lang="ru-RU" sz="16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Материал торца графит/седла карбид кремния/вольфрама</a:t>
                      </a:r>
                      <a:endParaRPr lang="ru-RU" sz="16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Технология «</a:t>
                      </a:r>
                      <a:r>
                        <a:rPr lang="en-US" sz="16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HARD FACE</a:t>
                      </a:r>
                      <a:r>
                        <a:rPr lang="ru-RU" sz="16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». Торец из карбида кремния с алмазным напылением.</a:t>
                      </a:r>
                      <a:endParaRPr lang="ru-RU" sz="16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Разнообразие примененных деталей</a:t>
                      </a:r>
                      <a:endParaRPr lang="ru-RU" sz="16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Унификация примененных деталей</a:t>
                      </a:r>
                      <a:endParaRPr lang="ru-RU" sz="16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Узкий диапазон рабочих параметров</a:t>
                      </a:r>
                      <a:endParaRPr lang="ru-RU" sz="16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Расширенный диапазон рабочих параметров</a:t>
                      </a:r>
                      <a:endParaRPr lang="ru-RU" sz="16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Стандартный межремонтный период</a:t>
                      </a:r>
                      <a:endParaRPr lang="ru-RU" sz="16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kern="1200" dirty="0" smtClean="0">
                          <a:solidFill>
                            <a:srgbClr val="1368B2"/>
                          </a:solidFill>
                          <a:latin typeface="Arial"/>
                          <a:ea typeface="+mj-ea"/>
                          <a:cs typeface="Arial" charset="0"/>
                        </a:rPr>
                        <a:t>Повышенная надежность</a:t>
                      </a:r>
                      <a:endParaRPr lang="ru-RU" sz="1600" kern="1200" dirty="0">
                        <a:solidFill>
                          <a:srgbClr val="1368B2"/>
                        </a:solidFill>
                        <a:latin typeface="Arial"/>
                        <a:ea typeface="+mj-ea"/>
                        <a:cs typeface="Arial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Заголовок 1"/>
          <p:cNvSpPr txBox="1">
            <a:spLocks/>
          </p:cNvSpPr>
          <p:nvPr/>
        </p:nvSpPr>
        <p:spPr>
          <a:xfrm>
            <a:off x="467544" y="0"/>
            <a:ext cx="8229600" cy="9087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100" dirty="0">
                <a:cs typeface="Arial" charset="0"/>
              </a:rPr>
              <a:t>Уплотнение АУРА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221" t="5303" r="9127" b="55701"/>
          <a:stretch/>
        </p:blipFill>
        <p:spPr bwMode="auto">
          <a:xfrm>
            <a:off x="5319148" y="3789040"/>
            <a:ext cx="3797064" cy="1873875"/>
          </a:xfrm>
          <a:prstGeom prst="rect">
            <a:avLst/>
          </a:prstGeom>
          <a:noFill/>
          <a:ln>
            <a:noFill/>
          </a:ln>
          <a:effectLst>
            <a:reflection stA="12000" endPos="22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4056" y="3429000"/>
            <a:ext cx="5936096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/>
            <a:r>
              <a:rPr lang="ru-RU" altLang="en-US" sz="14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Рабочие характеристики</a:t>
            </a:r>
            <a:r>
              <a:rPr lang="en-GB" altLang="en-US" sz="14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</a:t>
            </a:r>
            <a:r>
              <a:rPr lang="en-GB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(</a:t>
            </a:r>
            <a:r>
              <a:rPr lang="ru-RU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скорость</a:t>
            </a:r>
            <a:r>
              <a:rPr lang="en-GB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/</a:t>
            </a:r>
            <a:r>
              <a:rPr lang="ru-RU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температура</a:t>
            </a:r>
            <a:r>
              <a:rPr lang="en-GB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/</a:t>
            </a:r>
            <a:r>
              <a:rPr lang="ru-RU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давление</a:t>
            </a:r>
            <a:r>
              <a:rPr lang="en-GB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) </a:t>
            </a:r>
            <a:r>
              <a:rPr lang="ru-RU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и</a:t>
            </a:r>
            <a:r>
              <a:rPr lang="en-GB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</a:t>
            </a:r>
            <a:r>
              <a:rPr lang="ru-RU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дополнительные параметры </a:t>
            </a:r>
            <a:r>
              <a:rPr lang="en-GB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(</a:t>
            </a:r>
            <a:r>
              <a:rPr lang="ru-RU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направленность</a:t>
            </a:r>
            <a:r>
              <a:rPr lang="en-GB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, </a:t>
            </a:r>
            <a:r>
              <a:rPr lang="ru-RU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устойчивость к химическому воздействию</a:t>
            </a:r>
            <a:r>
              <a:rPr lang="en-GB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)</a:t>
            </a:r>
            <a:r>
              <a:rPr lang="ru-RU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учитывают требования для 90% компрессоров:</a:t>
            </a:r>
            <a:endParaRPr lang="en-GB" altLang="en-US" sz="14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r>
              <a:rPr lang="ru-RU" sz="1400" b="1" dirty="0" err="1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Статич</a:t>
            </a:r>
            <a:r>
              <a:rPr lang="ru-RU" sz="14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. давление</a:t>
            </a:r>
            <a:r>
              <a:rPr lang="en-US" sz="14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</a:t>
            </a:r>
            <a:r>
              <a:rPr 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– </a:t>
            </a:r>
            <a:r>
              <a:rPr lang="ru-RU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до </a:t>
            </a:r>
            <a:r>
              <a:rPr 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2</a:t>
            </a:r>
            <a:r>
              <a:rPr lang="ru-RU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2</a:t>
            </a:r>
            <a:r>
              <a:rPr 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0 </a:t>
            </a:r>
            <a:r>
              <a:rPr lang="ru-RU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бар</a:t>
            </a:r>
            <a:endParaRPr lang="en-US" sz="14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r>
              <a:rPr lang="ru-RU" sz="1400" b="1" dirty="0" err="1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Динамич</a:t>
            </a:r>
            <a:r>
              <a:rPr lang="ru-RU" sz="14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. давление</a:t>
            </a:r>
            <a:r>
              <a:rPr lang="en-US" sz="14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</a:t>
            </a:r>
            <a:r>
              <a:rPr 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– </a:t>
            </a:r>
            <a:r>
              <a:rPr lang="ru-RU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до </a:t>
            </a:r>
            <a:r>
              <a:rPr 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200 </a:t>
            </a:r>
            <a:r>
              <a:rPr lang="ru-RU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бар</a:t>
            </a:r>
            <a:endParaRPr lang="en-US" sz="14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r>
              <a:rPr lang="ru-RU" sz="14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Мин</a:t>
            </a:r>
            <a:r>
              <a:rPr lang="en-US" sz="14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./</a:t>
            </a:r>
            <a:r>
              <a:rPr lang="ru-RU" sz="14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макс</a:t>
            </a:r>
            <a:r>
              <a:rPr lang="en-US" sz="14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. </a:t>
            </a:r>
            <a:r>
              <a:rPr lang="ru-RU" sz="14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рабочая температура </a:t>
            </a:r>
            <a:r>
              <a:rPr 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– -50°C/200°C</a:t>
            </a:r>
          </a:p>
          <a:p>
            <a:r>
              <a:rPr lang="ru-RU" sz="14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Макс.скорость</a:t>
            </a:r>
            <a:r>
              <a:rPr 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– 1</a:t>
            </a:r>
            <a:r>
              <a:rPr lang="ru-RU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5</a:t>
            </a:r>
            <a:r>
              <a:rPr 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0</a:t>
            </a:r>
            <a:r>
              <a:rPr lang="ru-RU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м</a:t>
            </a:r>
            <a:r>
              <a:rPr 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/</a:t>
            </a:r>
            <a:r>
              <a:rPr lang="ru-RU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с</a:t>
            </a:r>
            <a:r>
              <a:rPr 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</a:t>
            </a:r>
            <a:r>
              <a:rPr lang="ru-RU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на балансировочном диаметре</a:t>
            </a:r>
            <a:endParaRPr lang="en-US" sz="14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r>
              <a:rPr lang="ru-RU" altLang="en-US" sz="14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Однонаправленные и двунаправленные конструкции </a:t>
            </a:r>
            <a:r>
              <a:rPr lang="en-US" sz="1400" dirty="0" smtClean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–</a:t>
            </a:r>
            <a:endParaRPr lang="ru-RU" sz="1400" dirty="0" smtClean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r>
              <a:rPr lang="ru-RU" altLang="en-US" sz="1400" dirty="0" smtClean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с </a:t>
            </a:r>
            <a:r>
              <a:rPr lang="ru-RU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тем же диапазоном рабочих характеристик</a:t>
            </a:r>
            <a:endParaRPr lang="en-GB" altLang="en-US" sz="14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pPr eaLnBrk="1" hangingPunct="1"/>
            <a:r>
              <a:rPr lang="ru-RU" altLang="en-US" sz="14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Диапазон размеров </a:t>
            </a:r>
            <a:r>
              <a:rPr 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–</a:t>
            </a:r>
            <a:r>
              <a:rPr lang="ru-RU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размер вала </a:t>
            </a:r>
            <a:r>
              <a:rPr lang="en-GB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70</a:t>
            </a:r>
            <a:r>
              <a:rPr lang="ru-RU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мм</a:t>
            </a:r>
            <a:r>
              <a:rPr lang="en-GB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</a:t>
            </a:r>
            <a:r>
              <a:rPr lang="ru-RU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–</a:t>
            </a:r>
            <a:r>
              <a:rPr lang="en-GB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230</a:t>
            </a:r>
            <a:r>
              <a:rPr lang="ru-RU" altLang="en-US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мм</a:t>
            </a:r>
          </a:p>
          <a:p>
            <a:pPr eaLnBrk="1" hangingPunct="1"/>
            <a:r>
              <a:rPr lang="ru-RU" altLang="en-US" sz="1400" b="1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Уплотняемый газ </a:t>
            </a:r>
            <a:r>
              <a:rPr lang="ru-RU" sz="14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– любая агрессивная среда.</a:t>
            </a:r>
            <a:endParaRPr lang="en-GB" sz="1400" dirty="0">
              <a:solidFill>
                <a:srgbClr val="1368B2"/>
              </a:solidFill>
              <a:latin typeface="Arial"/>
              <a:ea typeface="+mj-ea"/>
              <a:cs typeface="Arial" charset="0"/>
            </a:endParaRPr>
          </a:p>
          <a:p>
            <a:pPr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</a:pPr>
            <a:endParaRPr lang="ru-RU" sz="1400" dirty="0" smtClean="0">
              <a:solidFill>
                <a:srgbClr val="0000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983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520056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7</a:t>
            </a:fld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251520" y="980728"/>
            <a:ext cx="5040560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Устранение проблем сторонних СГУ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20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Выдавливание и растрескивание уплотнительных колец, расположенных за графитовым торцом СГУ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20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Низкое качество и недоработка конструкции крепежных </a:t>
            </a:r>
            <a:r>
              <a:rPr lang="ru-RU" sz="2000" dirty="0" err="1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контровочных</a:t>
            </a:r>
            <a:r>
              <a:rPr lang="ru-RU" sz="20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 деталей СГУ.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20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Неоптимальная геометрия рабочих канавок седла уплотнения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20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Некачественная смазка уплотнительных колец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2000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Разрушение седла в виде сквозных трещин по фиксирующим штифтам внутреннего корпуса, разрушение торца.</a:t>
            </a:r>
          </a:p>
          <a:p>
            <a:endParaRPr lang="ru-RU" dirty="0"/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467544" y="0"/>
            <a:ext cx="8229600" cy="9087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000" dirty="0">
                <a:cs typeface="Arial" charset="0"/>
              </a:rPr>
              <a:t>Замена СГУ при ремонте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080" y="1124744"/>
            <a:ext cx="3713783" cy="4761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81734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520056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8</a:t>
            </a:fld>
            <a:endParaRPr lang="ru-RU"/>
          </a:p>
        </p:txBody>
      </p:sp>
      <p:pic>
        <p:nvPicPr>
          <p:cNvPr id="3074" name="Picture 2" descr="C:\Users\asus-pc\Documents\Работа\Презентации\Газпром семинар 2018\29-11-2018_16-09-31\IMG_2883-29-11-18-06-09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4761" y="4350550"/>
            <a:ext cx="3312368" cy="2484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asus-pc\Documents\Работа\Презентации\Газпром семинар 2018\29-11-2018_16-09-31\IMG_2882-29-11-18-06-0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980728"/>
            <a:ext cx="2479102" cy="3305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251520" y="973831"/>
            <a:ext cx="504056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Устранение проблем сторонних СГУ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Посадка СГУ на вал ротора осуществляется по принципу «гладкий цилиндр на гладкий цилиндр»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Отсутствуют центрирующие детали. Контакт поверхностей СГУ и вала-ротора происходит по всей поверхности в местах наиболее выпуклых по валу и наиболее вогнутых по СГУ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Металлические детали СГУ выполнены из «мягкой(вязкой)» стали – сталь 12Х18Н10Т.Некачественная смазка уплотнительных колец.</a:t>
            </a:r>
          </a:p>
          <a:p>
            <a:endParaRPr lang="ru-RU" dirty="0"/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467544" y="0"/>
            <a:ext cx="8229600" cy="9087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900" dirty="0">
                <a:cs typeface="Arial" charset="0"/>
              </a:rPr>
              <a:t>Замена СГУ при ремонте</a:t>
            </a:r>
          </a:p>
        </p:txBody>
      </p:sp>
    </p:spTree>
    <p:extLst>
      <p:ext uri="{BB962C8B-B14F-4D97-AF65-F5344CB8AC3E}">
        <p14:creationId xmlns:p14="http://schemas.microsoft.com/office/powerpoint/2010/main" val="3935222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 txBox="1">
            <a:spLocks/>
          </p:cNvSpPr>
          <p:nvPr/>
        </p:nvSpPr>
        <p:spPr>
          <a:xfrm>
            <a:off x="467544" y="0"/>
            <a:ext cx="8229600" cy="9087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>
                <a:cs typeface="Arial" charset="0"/>
              </a:rPr>
              <a:t>Система утилизации утечек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67544" y="908720"/>
            <a:ext cx="799288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Сокращение </a:t>
            </a:r>
            <a:r>
              <a:rPr lang="ru-RU" dirty="0">
                <a:solidFill>
                  <a:srgbClr val="1368B2"/>
                </a:solidFill>
                <a:latin typeface="Arial"/>
                <a:ea typeface="+mj-ea"/>
                <a:cs typeface="Arial" charset="0"/>
              </a:rPr>
              <a:t>экологического аспекта выбросов газа в атмосферу, реализация новых методов и приемов энергосбережения топливных ресурсов, а также возврат технологических потерь газа в топливную сеть и использования сэкономленных объемов газа на собственные нужды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2167702"/>
            <a:ext cx="5870848" cy="41474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1138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2</TotalTime>
  <Words>794</Words>
  <Application>Microsoft Office PowerPoint</Application>
  <PresentationFormat>Экран (4:3)</PresentationFormat>
  <Paragraphs>132</Paragraphs>
  <Slides>13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Тема Office</vt:lpstr>
      <vt:lpstr>think-cell Slide</vt:lpstr>
      <vt:lpstr>«НАДЕЖНОСТЬ РАБОТЫ СИСТЕМЫ СУХИХ ГАЗОДИНАМИЧЕСКИХ УПЛОТНЕНИЙ. МОДЕРНИЗАЦИЯ И ОСОБЕННОСТИ ЭКСПЛУАТАЦИИ»</vt:lpstr>
      <vt:lpstr>ООО “Джон Крейн - Искра”, г.Пермь</vt:lpstr>
      <vt:lpstr>ООО “Джон Крейн - Искра”, г.Пермь</vt:lpstr>
      <vt:lpstr>Соответствие современным требованиям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ервисное обслуживание уплотнений  (базовый ремонт и капитальный ремонт)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адя</dc:creator>
  <cp:lastModifiedBy>asus-pc</cp:lastModifiedBy>
  <cp:revision>57</cp:revision>
  <dcterms:created xsi:type="dcterms:W3CDTF">2017-09-26T12:43:14Z</dcterms:created>
  <dcterms:modified xsi:type="dcterms:W3CDTF">2018-12-03T09:57:54Z</dcterms:modified>
</cp:coreProperties>
</file>